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858000" cy="9144000"/>
  <p:custDataLst>
    <p:tags r:id="rId4"/>
  </p:custDataLst>
  <p:defaultTextStyle>
    <a:defPPr>
      <a:defRPr lang="he-IL"/>
    </a:defPPr>
    <a:lvl1pPr algn="r" rtl="1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r" rtl="1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r" rtl="1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r" rtl="1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r" rtl="1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r" defTabSz="914400" rtl="1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r" defTabSz="914400" rtl="1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r" defTabSz="914400" rtl="1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r" defTabSz="914400" rtl="1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08000"/>
    <a:srgbClr val="00FF99"/>
    <a:srgbClr val="009900"/>
    <a:srgbClr val="006600"/>
    <a:srgbClr val="98D0D4"/>
    <a:srgbClr val="003300"/>
    <a:srgbClr val="EAEAEA"/>
    <a:srgbClr val="9900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aximized" horzBarState="maximized">
    <p:restoredLeft sz="87905" autoAdjust="0"/>
    <p:restoredTop sz="94660"/>
  </p:normalViewPr>
  <p:slideViewPr>
    <p:cSldViewPr snapToGrid="0">
      <p:cViewPr>
        <p:scale>
          <a:sx n="66" d="100"/>
          <a:sy n="66" d="100"/>
        </p:scale>
        <p:origin x="-1176" y="-26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rtl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588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e-IL" noProof="0" smtClean="0"/>
              <a:t>לחץ כדי לערוך סגנונות טקסט של תבנית בסיס</a:t>
            </a:r>
            <a:endParaRPr lang="en-US" noProof="0" smtClean="0"/>
          </a:p>
          <a:p>
            <a:pPr lvl="1"/>
            <a:r>
              <a:rPr lang="he-IL" noProof="0" smtClean="0"/>
              <a:t>רמה שנייה</a:t>
            </a:r>
            <a:endParaRPr lang="en-US" noProof="0" smtClean="0"/>
          </a:p>
          <a:p>
            <a:pPr lvl="2"/>
            <a:r>
              <a:rPr lang="he-IL" noProof="0" smtClean="0"/>
              <a:t>רמה שלישית</a:t>
            </a:r>
            <a:endParaRPr lang="en-US" noProof="0" smtClean="0"/>
          </a:p>
          <a:p>
            <a:pPr lvl="3"/>
            <a:r>
              <a:rPr lang="he-IL" noProof="0" smtClean="0"/>
              <a:t>רמה רביעית</a:t>
            </a:r>
            <a:endParaRPr lang="en-US" noProof="0" smtClean="0"/>
          </a:p>
          <a:p>
            <a:pPr lvl="4"/>
            <a:r>
              <a:rPr lang="he-IL" noProof="0" smtClean="0"/>
              <a:t>רמה חמישית</a:t>
            </a:r>
            <a:endParaRPr lang="en-US" noProof="0" smtClean="0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88620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rtl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1588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7F901B5-91D9-412A-B4CA-54B0EA5EFD44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r" rtl="1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r" rtl="1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r" rtl="1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r" rtl="1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r" rtl="1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AA0A3B2-BFEB-4F6D-975B-8C7EDBA594A2}" type="slidenum">
              <a:rPr lang="he-IL" smtClean="0"/>
              <a:pPr/>
              <a:t>1</a:t>
            </a:fld>
            <a:endParaRPr lang="en-US" smtClean="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F39123-F332-45F1-AB3E-1389F8FE8702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493D02-730C-42E7-83D3-5EC98F3182C4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D670A9-4DDB-461E-AEEC-55B015559EE9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72C00D-DE18-4450-A012-45FCC12547BF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958299-D153-44C8-B970-20E581D4385F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C1D18-8606-46C2-AD61-ABAA3D5DA1AF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ACA1A0-AC33-4BF1-AF71-D13D7DCEA1E4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452FAC-A00C-4E76-A985-1B4A4976CB12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FC37DF-5428-4445-A4A0-34A4BB2E713D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AA9DBC-ABF3-455E-8C1E-6F85DFA56DDF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CF34F8-8965-4D59-8875-A4137FCCA40A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e-IL" smtClean="0"/>
              <a:t>לחץ כדי לערוך סגנון כותרת של תבנית בסיס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e-IL" smtClean="0"/>
              <a:t>לחץ כדי לערוך סגנונות טקסט של תבנית בסיס</a:t>
            </a:r>
          </a:p>
          <a:p>
            <a:pPr lvl="1"/>
            <a:r>
              <a:rPr lang="he-IL" smtClean="0"/>
              <a:t>רמה שנייה</a:t>
            </a:r>
          </a:p>
          <a:p>
            <a:pPr lvl="2"/>
            <a:r>
              <a:rPr lang="he-IL" smtClean="0"/>
              <a:t>רמה שלישית</a:t>
            </a:r>
          </a:p>
          <a:p>
            <a:pPr lvl="3"/>
            <a:r>
              <a:rPr lang="he-IL" smtClean="0"/>
              <a:t>רמה רביעית</a:t>
            </a:r>
          </a:p>
          <a:p>
            <a:pPr lvl="4"/>
            <a:r>
              <a:rPr lang="he-IL" smtClean="0"/>
              <a:t>רמה חמישית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rtl="1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rtl="1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1">
              <a:defRPr sz="14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6AFBB17-1EE8-417B-8575-6583C066FBA4}" type="slidenum">
              <a:rPr lang="he-IL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</p:sldLayoutIdLst>
  <p:txStyles>
    <p:titleStyle>
      <a:lvl1pPr algn="ctr" rtl="1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1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1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1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1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1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r" rtl="1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rtl="1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r" rtl="1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r" rtl="1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r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r" rtl="1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r" rtl="1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r" rtl="1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r" rtl="1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0" name="Picture 334" descr="%D7%A2%D7%95%D7%91%D7%93%D7%99%D7%9D%20%D7%99%D7%97%D7%93[1]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3">
            <a:lum bright="66000" contrast="-66000"/>
          </a:blip>
          <a:srcRect/>
          <a:stretch>
            <a:fillRect/>
          </a:stretch>
        </p:blipFill>
        <p:spPr bwMode="gray">
          <a:xfrm>
            <a:off x="0" y="1300163"/>
            <a:ext cx="9144000" cy="6278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61" name="Text Box 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843088" y="784225"/>
            <a:ext cx="6648450" cy="109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he-IL" sz="3600" b="1">
                <a:solidFill>
                  <a:srgbClr val="00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תוכנית מובילי קיימות </a:t>
            </a:r>
          </a:p>
          <a:p>
            <a:pPr algn="ctr">
              <a:defRPr/>
            </a:pPr>
            <a:r>
              <a:rPr lang="he-IL" sz="3600" b="1">
                <a:solidFill>
                  <a:srgbClr val="0099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בתל-אביב - יפו</a:t>
            </a:r>
          </a:p>
        </p:txBody>
      </p:sp>
      <p:sp>
        <p:nvSpPr>
          <p:cNvPr id="2062" name="WordArt 284"/>
          <p:cNvSpPr>
            <a:spLocks noChangeArrowheads="1" noChangeShapeType="1" noTextEdit="1"/>
          </p:cNvSpPr>
          <p:nvPr>
            <p:custDataLst>
              <p:tags r:id="rId4"/>
            </p:custDataLst>
          </p:nvPr>
        </p:nvSpPr>
        <p:spPr bwMode="gray">
          <a:xfrm>
            <a:off x="1870075" y="450850"/>
            <a:ext cx="6853238" cy="1016000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1352468"/>
              </a:avLst>
            </a:prstTxWarp>
          </a:bodyPr>
          <a:lstStyle/>
          <a:p>
            <a:pPr algn="ctr" rtl="0"/>
            <a:endParaRPr lang="he-IL" sz="3600" i="1" kern="10" spc="-180">
              <a:ln w="9525">
                <a:solidFill>
                  <a:srgbClr val="006600"/>
                </a:solidFill>
                <a:round/>
                <a:headEnd/>
                <a:tailEnd/>
              </a:ln>
              <a:solidFill>
                <a:schemeClr val="folHlink"/>
              </a:solidFill>
              <a:effectLst>
                <a:outerShdw dist="35921" dir="2700000" sy="50000" rotWithShape="0">
                  <a:srgbClr val="875B0D">
                    <a:alpha val="70000"/>
                  </a:srgbClr>
                </a:outerShdw>
              </a:effectLst>
              <a:latin typeface="Arial"/>
              <a:cs typeface="Arial"/>
            </a:endParaRPr>
          </a:p>
        </p:txBody>
      </p:sp>
      <p:grpSp>
        <p:nvGrpSpPr>
          <p:cNvPr id="2063" name="Group 333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995863" y="4089400"/>
            <a:ext cx="4364037" cy="2490788"/>
            <a:chOff x="4128" y="1622"/>
            <a:chExt cx="1652" cy="1354"/>
          </a:xfrm>
        </p:grpSpPr>
        <p:sp>
          <p:nvSpPr>
            <p:cNvPr id="2073" name="AutoShape 32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128" y="1622"/>
              <a:ext cx="1652" cy="1354"/>
            </a:xfrm>
            <a:prstGeom prst="star16">
              <a:avLst>
                <a:gd name="adj" fmla="val 37500"/>
              </a:avLst>
            </a:prstGeom>
            <a:solidFill>
              <a:schemeClr val="folHlink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/>
            </a:p>
          </p:txBody>
        </p:sp>
        <p:sp>
          <p:nvSpPr>
            <p:cNvPr id="2074" name="Text Box 295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 rot="499196">
              <a:off x="4379" y="1818"/>
              <a:ext cx="1322" cy="6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rtl="0">
                <a:spcAft>
                  <a:spcPct val="150000"/>
                </a:spcAft>
              </a:pPr>
              <a:r>
                <a:rPr lang="he-IL" sz="2800" b="1">
                  <a:solidFill>
                    <a:srgbClr val="990099"/>
                  </a:solidFill>
                  <a:latin typeface="Times New Roman" pitchFamily="18" charset="0"/>
                  <a:ea typeface="Arial Unicode MS"/>
                  <a:cs typeface="FrankRuehl" pitchFamily="34" charset="-79"/>
                </a:rPr>
                <a:t>כנס הפתיחה</a:t>
              </a:r>
              <a:r>
                <a:rPr lang="en-US" sz="2800" b="1">
                  <a:solidFill>
                    <a:srgbClr val="990099"/>
                  </a:solidFill>
                  <a:latin typeface="Times New Roman" pitchFamily="18" charset="0"/>
                  <a:ea typeface="Arial Unicode MS"/>
                  <a:cs typeface="FrankRuehl" pitchFamily="34" charset="-79"/>
                </a:rPr>
                <a:t/>
              </a:r>
              <a:br>
                <a:rPr lang="en-US" sz="2800" b="1">
                  <a:solidFill>
                    <a:srgbClr val="990099"/>
                  </a:solidFill>
                  <a:latin typeface="Times New Roman" pitchFamily="18" charset="0"/>
                  <a:ea typeface="Arial Unicode MS"/>
                  <a:cs typeface="FrankRuehl" pitchFamily="34" charset="-79"/>
                </a:rPr>
              </a:br>
              <a:r>
                <a:rPr lang="he-IL" sz="2800" b="1">
                  <a:solidFill>
                    <a:srgbClr val="990099"/>
                  </a:solidFill>
                  <a:latin typeface="Times New Roman" pitchFamily="18" charset="0"/>
                  <a:ea typeface="Arial Unicode MS"/>
                  <a:cs typeface="FrankRuehl" pitchFamily="34" charset="-79"/>
                </a:rPr>
                <a:t>יערך ביום שישי, </a:t>
              </a:r>
              <a:r>
                <a:rPr lang="he-IL" sz="2800" b="1">
                  <a:solidFill>
                    <a:srgbClr val="990099"/>
                  </a:solidFill>
                  <a:ea typeface="Arial Unicode MS"/>
                  <a:cs typeface="FrankRuehl" pitchFamily="34" charset="-79"/>
                </a:rPr>
                <a:t>4.11.2011</a:t>
              </a:r>
              <a:r>
                <a:rPr lang="en-US" sz="2800">
                  <a:solidFill>
                    <a:srgbClr val="990099"/>
                  </a:solidFill>
                  <a:ea typeface="Arial Unicode MS"/>
                  <a:cs typeface="FrankRuehl" pitchFamily="34" charset="-79"/>
                </a:rPr>
                <a:t/>
              </a:r>
              <a:br>
                <a:rPr lang="en-US" sz="2800">
                  <a:solidFill>
                    <a:srgbClr val="990099"/>
                  </a:solidFill>
                  <a:ea typeface="Arial Unicode MS"/>
                  <a:cs typeface="FrankRuehl" pitchFamily="34" charset="-79"/>
                </a:rPr>
              </a:br>
              <a:r>
                <a:rPr lang="he-IL" sz="2800" b="1">
                  <a:solidFill>
                    <a:srgbClr val="990099"/>
                  </a:solidFill>
                  <a:latin typeface="Times New Roman" pitchFamily="18" charset="0"/>
                  <a:ea typeface="Arial Unicode MS"/>
                  <a:cs typeface="FrankRuehl" pitchFamily="34" charset="-79"/>
                </a:rPr>
                <a:t>בית בארבור, דרך ההגנה  135</a:t>
              </a:r>
              <a:endParaRPr lang="he-IL" b="1">
                <a:latin typeface="Times New Roman" pitchFamily="18" charset="0"/>
                <a:ea typeface="Arial Unicode MS"/>
                <a:cs typeface="FrankRuehl" pitchFamily="34" charset="-79"/>
              </a:endParaRPr>
            </a:p>
          </p:txBody>
        </p:sp>
      </p:grpSp>
      <p:graphicFrame>
        <p:nvGraphicFramePr>
          <p:cNvPr id="2058" name="AutoShape 10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8" r:id="rId14" imgW="0" imgH="0" progId="">
              <p:embed/>
            </p:oleObj>
          </a:graphicData>
        </a:graphic>
      </p:graphicFrame>
      <p:sp>
        <p:nvSpPr>
          <p:cNvPr id="2064" name="Text Box 1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035675" y="5929313"/>
            <a:ext cx="2841625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Aft>
                <a:spcPct val="100000"/>
              </a:spcAft>
            </a:pPr>
            <a:r>
              <a:rPr lang="he-IL" sz="1600" b="1">
                <a:ea typeface="Guttman Yad-Brush"/>
                <a:cs typeface="Guttman Yad-Brush"/>
              </a:rPr>
              <a:t>לפרטים ולהרשמה:</a:t>
            </a:r>
            <a:r>
              <a:rPr lang="en-US" sz="1600" b="1">
                <a:ea typeface="Guttman Yad-Brush"/>
                <a:cs typeface="Guttman Yad-Brush"/>
              </a:rPr>
              <a:t/>
            </a:r>
            <a:br>
              <a:rPr lang="en-US" sz="1600" b="1">
                <a:ea typeface="Guttman Yad-Brush"/>
                <a:cs typeface="Guttman Yad-Brush"/>
              </a:rPr>
            </a:br>
            <a:r>
              <a:rPr lang="he-IL" sz="1600" b="1">
                <a:ea typeface="Guttman Yad-Brush"/>
                <a:cs typeface="Guttman Yad-Brush"/>
              </a:rPr>
              <a:t>שלומית אלייקים</a:t>
            </a:r>
          </a:p>
          <a:p>
            <a:pPr>
              <a:spcAft>
                <a:spcPct val="100000"/>
              </a:spcAft>
            </a:pPr>
            <a:r>
              <a:rPr lang="en-US" b="1"/>
              <a:t>shlomite1@bezeqint.net</a:t>
            </a:r>
          </a:p>
        </p:txBody>
      </p:sp>
      <p:graphicFrame>
        <p:nvGraphicFramePr>
          <p:cNvPr id="2059" name="Object 11" descr="earth hands"/>
          <p:cNvGraphicFramePr>
            <a:graphicFrameLocks noChangeAspect="1"/>
          </p:cNvGraphicFramePr>
          <p:nvPr/>
        </p:nvGraphicFramePr>
        <p:xfrm>
          <a:off x="0" y="231775"/>
          <a:ext cx="1674813" cy="1184275"/>
        </p:xfrm>
        <a:graphic>
          <a:graphicData uri="http://schemas.openxmlformats.org/presentationml/2006/ole">
            <p:oleObj spid="_x0000_s2059" name="Acrobat Document" r:id="rId15" imgW="10695600" imgH="7558200" progId="AcroExch.Document.7">
              <p:embed/>
            </p:oleObj>
          </a:graphicData>
        </a:graphic>
      </p:graphicFrame>
      <p:sp>
        <p:nvSpPr>
          <p:cNvPr id="2065" name="Text Box 35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-188913" y="1231900"/>
            <a:ext cx="2181226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he-IL" sz="1200" b="1"/>
              <a:t>עיריית תל אביב  - יפו</a:t>
            </a:r>
          </a:p>
        </p:txBody>
      </p:sp>
      <p:sp>
        <p:nvSpPr>
          <p:cNvPr id="2066" name="WordArt 30"/>
          <p:cNvSpPr>
            <a:spLocks noChangeArrowheads="1" noChangeShapeType="1" noTextEdit="1"/>
          </p:cNvSpPr>
          <p:nvPr/>
        </p:nvSpPr>
        <p:spPr bwMode="auto">
          <a:xfrm>
            <a:off x="2293938" y="550863"/>
            <a:ext cx="5689600" cy="866775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1510516"/>
              </a:avLst>
            </a:prstTxWarp>
          </a:bodyPr>
          <a:lstStyle/>
          <a:p>
            <a:pPr algn="ctr"/>
            <a:r>
              <a:rPr lang="he-IL" sz="28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92D050"/>
                </a:solidFill>
                <a:latin typeface="Arial"/>
                <a:cs typeface="Arial"/>
              </a:rPr>
              <a:t>בואו לעשות שינוי בתל-אביב - יפו</a:t>
            </a:r>
          </a:p>
        </p:txBody>
      </p:sp>
      <p:sp>
        <p:nvSpPr>
          <p:cNvPr id="2088" name="Text Box 40"/>
          <p:cNvSpPr txBox="1">
            <a:spLocks noChangeArrowheads="1"/>
          </p:cNvSpPr>
          <p:nvPr/>
        </p:nvSpPr>
        <p:spPr bwMode="auto">
          <a:xfrm>
            <a:off x="598488" y="2058988"/>
            <a:ext cx="82708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defRPr/>
            </a:pPr>
            <a:r>
              <a:rPr lang="he-IL"/>
              <a:t> </a:t>
            </a:r>
            <a:r>
              <a:rPr lang="he-IL" sz="2000" b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אכפת לכם?  אתם רוצים להפוך את תל-אביב – יפו לעיר מקיימת?              </a:t>
            </a:r>
          </a:p>
          <a:p>
            <a:pPr algn="ctr">
              <a:defRPr/>
            </a:pPr>
            <a:r>
              <a:rPr lang="he-IL" sz="2400" b="1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הצטרפו לתוכנית ונוביל את השינוי ביחד!</a:t>
            </a:r>
            <a:endParaRPr lang="en-US" sz="2400" b="1">
              <a:solidFill>
                <a:srgbClr val="0080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2068" name="Text Box 41"/>
          <p:cNvSpPr txBox="1">
            <a:spLocks noChangeArrowheads="1"/>
          </p:cNvSpPr>
          <p:nvPr/>
        </p:nvSpPr>
        <p:spPr bwMode="auto">
          <a:xfrm>
            <a:off x="288925" y="2959100"/>
            <a:ext cx="8639175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he-IL" sz="2000" b="1"/>
              <a:t>התוכנית תכלול </a:t>
            </a:r>
            <a:r>
              <a:rPr lang="he-IL" sz="2000"/>
              <a:t> </a:t>
            </a:r>
            <a:r>
              <a:rPr lang="he-IL" sz="2000" b="1"/>
              <a:t>12 מפגשים חודשיים בנושאי קיימות עירונית. </a:t>
            </a:r>
          </a:p>
          <a:p>
            <a:pPr algn="ctr"/>
            <a:r>
              <a:rPr lang="he-IL" sz="2000" b="1"/>
              <a:t>סדרת המפגשים תשלב העשרה בידע, חוויה והעצמה, </a:t>
            </a:r>
          </a:p>
          <a:p>
            <a:pPr algn="ctr"/>
            <a:r>
              <a:rPr lang="he-IL" sz="2000" b="1"/>
              <a:t>במטרה ליזום ולבצע פרויקטים המקדמים את הקיימות העירונית.</a:t>
            </a:r>
          </a:p>
          <a:p>
            <a:pPr algn="ctr"/>
            <a:r>
              <a:rPr lang="he-IL" sz="2000" b="1"/>
              <a:t>המפגשים יתקיימו בימי שישי בין השעות  8:30-13:00. </a:t>
            </a:r>
          </a:p>
        </p:txBody>
      </p:sp>
      <p:sp>
        <p:nvSpPr>
          <p:cNvPr id="2069" name="Text Box 25"/>
          <p:cNvSpPr txBox="1">
            <a:spLocks noChangeArrowheads="1"/>
          </p:cNvSpPr>
          <p:nvPr/>
        </p:nvSpPr>
        <p:spPr bwMode="auto">
          <a:xfrm>
            <a:off x="609600" y="4397375"/>
            <a:ext cx="349726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he-IL"/>
          </a:p>
        </p:txBody>
      </p:sp>
      <p:sp>
        <p:nvSpPr>
          <p:cNvPr id="2070" name="Text Box 25"/>
          <p:cNvSpPr txBox="1">
            <a:spLocks noChangeArrowheads="1"/>
          </p:cNvSpPr>
          <p:nvPr/>
        </p:nvSpPr>
        <p:spPr bwMode="auto">
          <a:xfrm>
            <a:off x="260350" y="4411663"/>
            <a:ext cx="496411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he-IL"/>
          </a:p>
        </p:txBody>
      </p:sp>
      <p:sp>
        <p:nvSpPr>
          <p:cNvPr id="2071" name="Text Box 28"/>
          <p:cNvSpPr txBox="1">
            <a:spLocks noChangeArrowheads="1"/>
          </p:cNvSpPr>
          <p:nvPr/>
        </p:nvSpPr>
        <p:spPr bwMode="auto">
          <a:xfrm>
            <a:off x="217488" y="4224338"/>
            <a:ext cx="48037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he-IL"/>
          </a:p>
        </p:txBody>
      </p:sp>
      <p:sp>
        <p:nvSpPr>
          <p:cNvPr id="2077" name="Rectangle 29"/>
          <p:cNvSpPr>
            <a:spLocks noChangeArrowheads="1"/>
          </p:cNvSpPr>
          <p:nvPr/>
        </p:nvSpPr>
        <p:spPr bwMode="auto">
          <a:xfrm>
            <a:off x="0" y="4106863"/>
            <a:ext cx="5654675" cy="338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he-IL"/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8.30 - 08.50   מר רובי זלוף, סמנכ"ל תפעול: </a:t>
            </a: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               תל-אביב - יפו לאן?</a:t>
            </a:r>
            <a:endParaRPr lang="en-US" b="1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8.50 - 9.50     פרופ' דני רבינוביץ', יו"ר  "חיים וסביבה": </a:t>
            </a: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כיצד להפוך את תל-אביב - יפו לעיר מקיימת?</a:t>
            </a:r>
            <a:endParaRPr lang="en-US" b="1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09.50 - 10.00  מר אוריאל בבצ'וק, עוזר אדריכל העיר: תוכנית יירוק העיר</a:t>
            </a:r>
            <a:endParaRPr lang="en-US" b="1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10.00 - 10.15   תוכנית ההכשרה ותיאום ציפיות</a:t>
            </a:r>
            <a:endParaRPr lang="en-US" b="1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10.15 - 10.45  הפסקה</a:t>
            </a:r>
            <a:endParaRPr lang="en-US" b="1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10.45 - 12.00  תומר יפה: מדידת כף הרגל האקולוגית שלי </a:t>
            </a:r>
            <a:endParaRPr lang="en-US" b="1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12.00 - 13.30 מר ערן אולניק, קוצ'ינג אקדמי:</a:t>
            </a:r>
          </a:p>
          <a:p>
            <a:pPr>
              <a:defRPr/>
            </a:pPr>
            <a:r>
              <a:rPr lang="he-IL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                     מחזון לפרויקט: כיצד בונים תוכנית פעולה?</a:t>
            </a:r>
            <a:endParaRPr lang="en-US" b="1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8Za_kEEEugmo65BDxP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dT.z1ToU68XMs41Rne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4fh6tuqE.4lgaH1pud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9guzEl2kyJUSBde.7N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aXc_RWaE2ftXS2.41l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u3x05N06mP.CwVBKP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8zXoNKhEGNErgJrXSN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fZ3B0H8kqb1tuAwwr2D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עיצוב ברירת מחדל">
  <a:themeElements>
    <a:clrScheme name="עיצוב ברירת מחדל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עיצוב ברירת מחדל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1">
          <a:blip xmlns:r="http://schemas.openxmlformats.org/officeDocument/2006/relationships" r:embed="rId1"/>
          <a:srcRect/>
          <a:stretch>
            <a:fillRect/>
          </a:stretch>
        </a:blipFill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he-I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1">
          <a:blip xmlns:r="http://schemas.openxmlformats.org/officeDocument/2006/relationships" r:embed="rId1"/>
          <a:srcRect/>
          <a:stretch>
            <a:fillRect/>
          </a:stretch>
        </a:blipFill>
        <a:ln w="381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he-I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עיצוב ברירת מחדל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עיצוב ברירת מחדל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עיצוב ברירת מחדל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עיצוב ברירת מחדל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עיצוב ברירת מחדל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עיצוב ברירת מחדל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עיצוב ברירת מחדל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עיצוב ברירת מחדל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עיצוב ברירת מחדל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עיצוב ברירת מחדל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עיצוב ברירת מחדל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עיצוב ברירת מחדל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7</TotalTime>
  <Words>139</Words>
  <Application>Microsoft Office PowerPoint</Application>
  <PresentationFormat>On-screen Show (4:3)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Times New Roman</vt:lpstr>
      <vt:lpstr>Arial Unicode MS</vt:lpstr>
      <vt:lpstr>FrankRuehl</vt:lpstr>
      <vt:lpstr>Guttman Yad-Brush</vt:lpstr>
      <vt:lpstr>עיצוב ברירת מחדל</vt:lpstr>
      <vt:lpstr>Acrobat Document</vt:lpstr>
      <vt:lpstr>Slide 1</vt:lpstr>
    </vt:vector>
  </TitlesOfParts>
  <Company>tlv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שקופית 1</dc:title>
  <dc:creator>x5367173</dc:creator>
  <cp:lastModifiedBy>Galit</cp:lastModifiedBy>
  <cp:revision>195</cp:revision>
  <dcterms:created xsi:type="dcterms:W3CDTF">2009-01-01T07:17:47Z</dcterms:created>
  <dcterms:modified xsi:type="dcterms:W3CDTF">2011-10-13T18:1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שקופית 1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docid">
    <vt:lpwstr/>
  </property>
</Properties>
</file>